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10693400" cy="7556500"/>
  <p:notesSz cx="6858000" cy="9144000"/>
  <p:embeddedFontLst>
    <p:embeddedFont>
      <p:font typeface="Poppins" panose="000005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62" d="100"/>
          <a:sy n="62" d="100"/>
        </p:scale>
        <p:origin x="1752" y="26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8">
            <a:extLst>
              <a:ext uri="{FF2B5EF4-FFF2-40B4-BE49-F238E27FC236}">
                <a16:creationId xmlns:a16="http://schemas.microsoft.com/office/drawing/2014/main" id="{B52C398A-A81D-5B3B-C0A0-F9B67EA38074}"/>
              </a:ext>
            </a:extLst>
          </p:cNvPr>
          <p:cNvGrpSpPr/>
          <p:nvPr/>
        </p:nvGrpSpPr>
        <p:grpSpPr>
          <a:xfrm>
            <a:off x="756700" y="724485"/>
            <a:ext cx="9180000" cy="6105149"/>
            <a:chOff x="756000" y="689325"/>
            <a:chExt cx="9180000" cy="6105149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2D8D36B6-7445-5E04-9A76-24D971C37860}"/>
                </a:ext>
              </a:extLst>
            </p:cNvPr>
            <p:cNvGrpSpPr/>
            <p:nvPr/>
          </p:nvGrpSpPr>
          <p:grpSpPr>
            <a:xfrm>
              <a:off x="3093112" y="2281772"/>
              <a:ext cx="6054215" cy="3813255"/>
              <a:chOff x="3093112" y="2281772"/>
              <a:chExt cx="6054215" cy="3813255"/>
            </a:xfrm>
          </p:grpSpPr>
          <p:sp>
            <p:nvSpPr>
              <p:cNvPr id="5" name="AutoShape 5"/>
              <p:cNvSpPr/>
              <p:nvPr/>
            </p:nvSpPr>
            <p:spPr>
              <a:xfrm flipH="1" flipV="1">
                <a:off x="3452519" y="2370998"/>
                <a:ext cx="0" cy="3644329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7018492" y="2281772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9147327" y="2281772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7018492" y="4099174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7018492" y="5916576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9147327" y="5916576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3452519" y="6005801"/>
                <a:ext cx="495414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5678331" y="6005801"/>
                <a:ext cx="3458526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>
                <a:off x="3452519" y="2372824"/>
                <a:ext cx="495414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5678330" y="2372496"/>
                <a:ext cx="3456145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3093112" y="4190226"/>
                <a:ext cx="854821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678331" y="4190226"/>
                <a:ext cx="3458526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1" name="AutoShape 28">
                <a:extLst>
                  <a:ext uri="{FF2B5EF4-FFF2-40B4-BE49-F238E27FC236}">
                    <a16:creationId xmlns:a16="http://schemas.microsoft.com/office/drawing/2014/main" id="{536B7C14-275C-1312-0254-02538FA89535}"/>
                  </a:ext>
                </a:extLst>
              </p:cNvPr>
              <p:cNvSpPr/>
              <p:nvPr/>
            </p:nvSpPr>
            <p:spPr>
              <a:xfrm>
                <a:off x="9147327" y="4099174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4DE73B8-4D97-AEB0-24B0-8789DC97D38B}"/>
                </a:ext>
              </a:extLst>
            </p:cNvPr>
            <p:cNvGrpSpPr/>
            <p:nvPr/>
          </p:nvGrpSpPr>
          <p:grpSpPr>
            <a:xfrm>
              <a:off x="6229818" y="6145242"/>
              <a:ext cx="3706182" cy="543914"/>
              <a:chOff x="6229818" y="6145242"/>
              <a:chExt cx="3706182" cy="543914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165C2602-98FB-6214-BC55-ABA9C0695CF4}"/>
                  </a:ext>
                </a:extLst>
              </p:cNvPr>
              <p:cNvGrpSpPr/>
              <p:nvPr/>
            </p:nvGrpSpPr>
            <p:grpSpPr>
              <a:xfrm>
                <a:off x="6229818" y="6145242"/>
                <a:ext cx="1577347" cy="543914"/>
                <a:chOff x="6229818" y="6145242"/>
                <a:chExt cx="1577347" cy="543914"/>
              </a:xfrm>
            </p:grpSpPr>
            <p:sp>
              <p:nvSpPr>
                <p:cNvPr id="69" name="Freeform 48">
                  <a:extLst>
                    <a:ext uri="{FF2B5EF4-FFF2-40B4-BE49-F238E27FC236}">
                      <a16:creationId xmlns:a16="http://schemas.microsoft.com/office/drawing/2014/main" id="{FEA793CF-0387-4064-3A49-478A8150EAEA}"/>
                    </a:ext>
                  </a:extLst>
                </p:cNvPr>
                <p:cNvSpPr/>
                <p:nvPr/>
              </p:nvSpPr>
              <p:spPr>
                <a:xfrm>
                  <a:off x="6229818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93A2BB49-5FF3-9986-E22C-9B7B9DDB137B}"/>
                    </a:ext>
                  </a:extLst>
                </p:cNvPr>
                <p:cNvGrpSpPr/>
                <p:nvPr/>
              </p:nvGrpSpPr>
              <p:grpSpPr>
                <a:xfrm>
                  <a:off x="6426649" y="6288367"/>
                  <a:ext cx="1183686" cy="257665"/>
                  <a:chOff x="6426649" y="6282905"/>
                  <a:chExt cx="1183686" cy="257665"/>
                </a:xfrm>
              </p:grpSpPr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6426649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86" name="TextBox 86"/>
                  <p:cNvSpPr txBox="1"/>
                  <p:nvPr/>
                </p:nvSpPr>
                <p:spPr>
                  <a:xfrm>
                    <a:off x="6426649" y="6431116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83871523-51B8-F5A0-BF48-A658E4537D64}"/>
                  </a:ext>
                </a:extLst>
              </p:cNvPr>
              <p:cNvGrpSpPr/>
              <p:nvPr/>
            </p:nvGrpSpPr>
            <p:grpSpPr>
              <a:xfrm>
                <a:off x="8358653" y="6145242"/>
                <a:ext cx="1577347" cy="543914"/>
                <a:chOff x="8358653" y="6145242"/>
                <a:chExt cx="1577347" cy="543914"/>
              </a:xfrm>
            </p:grpSpPr>
            <p:sp>
              <p:nvSpPr>
                <p:cNvPr id="70" name="Freeform 48">
                  <a:extLst>
                    <a:ext uri="{FF2B5EF4-FFF2-40B4-BE49-F238E27FC236}">
                      <a16:creationId xmlns:a16="http://schemas.microsoft.com/office/drawing/2014/main" id="{5A194B9E-36BC-FEB9-FDB8-9C95A4189B9A}"/>
                    </a:ext>
                  </a:extLst>
                </p:cNvPr>
                <p:cNvSpPr/>
                <p:nvPr/>
              </p:nvSpPr>
              <p:spPr>
                <a:xfrm>
                  <a:off x="8358653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F6C5E990-1CFD-F41D-B6F5-7F25C6B2B18E}"/>
                    </a:ext>
                  </a:extLst>
                </p:cNvPr>
                <p:cNvGrpSpPr/>
                <p:nvPr/>
              </p:nvGrpSpPr>
              <p:grpSpPr>
                <a:xfrm>
                  <a:off x="8464853" y="6288143"/>
                  <a:ext cx="1364948" cy="258113"/>
                  <a:chOff x="8464853" y="6282905"/>
                  <a:chExt cx="1364948" cy="258113"/>
                </a:xfrm>
              </p:grpSpPr>
              <p:sp>
                <p:nvSpPr>
                  <p:cNvPr id="90" name="TextBox 90"/>
                  <p:cNvSpPr txBox="1"/>
                  <p:nvPr/>
                </p:nvSpPr>
                <p:spPr>
                  <a:xfrm>
                    <a:off x="8555484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91" name="TextBox 91"/>
                  <p:cNvSpPr txBox="1"/>
                  <p:nvPr/>
                </p:nvSpPr>
                <p:spPr>
                  <a:xfrm>
                    <a:off x="8464853" y="6431116"/>
                    <a:ext cx="1364948" cy="109902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3C9651B4-8DE1-78E4-CF2C-D139BAFB7117}"/>
                </a:ext>
              </a:extLst>
            </p:cNvPr>
            <p:cNvGrpSpPr/>
            <p:nvPr/>
          </p:nvGrpSpPr>
          <p:grpSpPr>
            <a:xfrm>
              <a:off x="6229818" y="5325445"/>
              <a:ext cx="3706182" cy="543914"/>
              <a:chOff x="6229818" y="5325445"/>
              <a:chExt cx="3706182" cy="543914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B4A7511-26F4-A8D0-5898-B6B0299C0272}"/>
                  </a:ext>
                </a:extLst>
              </p:cNvPr>
              <p:cNvGrpSpPr/>
              <p:nvPr/>
            </p:nvGrpSpPr>
            <p:grpSpPr>
              <a:xfrm>
                <a:off x="6229818" y="5325445"/>
                <a:ext cx="1577347" cy="543914"/>
                <a:chOff x="6229818" y="5325445"/>
                <a:chExt cx="1577347" cy="543914"/>
              </a:xfrm>
            </p:grpSpPr>
            <p:sp>
              <p:nvSpPr>
                <p:cNvPr id="59" name="Freeform 48">
                  <a:extLst>
                    <a:ext uri="{FF2B5EF4-FFF2-40B4-BE49-F238E27FC236}">
                      <a16:creationId xmlns:a16="http://schemas.microsoft.com/office/drawing/2014/main" id="{A1E7A765-1427-9166-C7A6-11BBA6997560}"/>
                    </a:ext>
                  </a:extLst>
                </p:cNvPr>
                <p:cNvSpPr/>
                <p:nvPr/>
              </p:nvSpPr>
              <p:spPr>
                <a:xfrm>
                  <a:off x="6229818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4" name="Group 123">
                  <a:extLst>
                    <a:ext uri="{FF2B5EF4-FFF2-40B4-BE49-F238E27FC236}">
                      <a16:creationId xmlns:a16="http://schemas.microsoft.com/office/drawing/2014/main" id="{FDDD7AB7-7F00-1611-AAAD-CF7B2B40B7A8}"/>
                    </a:ext>
                  </a:extLst>
                </p:cNvPr>
                <p:cNvGrpSpPr/>
                <p:nvPr/>
              </p:nvGrpSpPr>
              <p:grpSpPr>
                <a:xfrm>
                  <a:off x="6426649" y="5468570"/>
                  <a:ext cx="1183686" cy="299826"/>
                  <a:chOff x="6426649" y="5463108"/>
                  <a:chExt cx="1183686" cy="299826"/>
                </a:xfrm>
              </p:grpSpPr>
              <p:sp>
                <p:nvSpPr>
                  <p:cNvPr id="96" name="TextBox 96"/>
                  <p:cNvSpPr txBox="1"/>
                  <p:nvPr/>
                </p:nvSpPr>
                <p:spPr>
                  <a:xfrm>
                    <a:off x="6426649" y="5463108"/>
                    <a:ext cx="1183686" cy="29982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  <a:p>
                    <a:pPr algn="ctr">
                      <a:lnSpc>
                        <a:spcPts val="1172"/>
                      </a:lnSpc>
                    </a:pP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97" name="TextBox 97"/>
                  <p:cNvSpPr txBox="1"/>
                  <p:nvPr/>
                </p:nvSpPr>
                <p:spPr>
                  <a:xfrm>
                    <a:off x="6426649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ACEB5016-35EB-32F7-05BC-FB9A4C28BFE9}"/>
                  </a:ext>
                </a:extLst>
              </p:cNvPr>
              <p:cNvGrpSpPr/>
              <p:nvPr/>
            </p:nvGrpSpPr>
            <p:grpSpPr>
              <a:xfrm>
                <a:off x="8358653" y="5325445"/>
                <a:ext cx="1577347" cy="543914"/>
                <a:chOff x="8358653" y="5325445"/>
                <a:chExt cx="1577347" cy="543914"/>
              </a:xfrm>
            </p:grpSpPr>
            <p:sp>
              <p:nvSpPr>
                <p:cNvPr id="64" name="Freeform 48">
                  <a:extLst>
                    <a:ext uri="{FF2B5EF4-FFF2-40B4-BE49-F238E27FC236}">
                      <a16:creationId xmlns:a16="http://schemas.microsoft.com/office/drawing/2014/main" id="{132A73D3-8E6D-0B71-5454-57C38CE434BD}"/>
                    </a:ext>
                  </a:extLst>
                </p:cNvPr>
                <p:cNvSpPr/>
                <p:nvPr/>
              </p:nvSpPr>
              <p:spPr>
                <a:xfrm>
                  <a:off x="8358653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9E1C942E-666C-61DA-D9DA-534EA46A8B12}"/>
                    </a:ext>
                  </a:extLst>
                </p:cNvPr>
                <p:cNvGrpSpPr/>
                <p:nvPr/>
              </p:nvGrpSpPr>
              <p:grpSpPr>
                <a:xfrm>
                  <a:off x="8492051" y="5468570"/>
                  <a:ext cx="1310551" cy="257665"/>
                  <a:chOff x="8492051" y="5463108"/>
                  <a:chExt cx="1310551" cy="257665"/>
                </a:xfrm>
              </p:grpSpPr>
              <p:sp>
                <p:nvSpPr>
                  <p:cNvPr id="101" name="TextBox 101"/>
                  <p:cNvSpPr txBox="1"/>
                  <p:nvPr/>
                </p:nvSpPr>
                <p:spPr>
                  <a:xfrm>
                    <a:off x="8492051" y="5463108"/>
                    <a:ext cx="1310551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102" name="TextBox 102"/>
                  <p:cNvSpPr txBox="1"/>
                  <p:nvPr/>
                </p:nvSpPr>
                <p:spPr>
                  <a:xfrm>
                    <a:off x="8555484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E7320C-F9E8-8441-9E4C-51D07DE9793F}"/>
                </a:ext>
              </a:extLst>
            </p:cNvPr>
            <p:cNvGrpSpPr/>
            <p:nvPr/>
          </p:nvGrpSpPr>
          <p:grpSpPr>
            <a:xfrm>
              <a:off x="6229818" y="4327840"/>
              <a:ext cx="3706182" cy="543914"/>
              <a:chOff x="6229818" y="4327840"/>
              <a:chExt cx="3706182" cy="543914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79AB8664-484B-951B-ECD5-CDBF6424D4BE}"/>
                  </a:ext>
                </a:extLst>
              </p:cNvPr>
              <p:cNvGrpSpPr/>
              <p:nvPr/>
            </p:nvGrpSpPr>
            <p:grpSpPr>
              <a:xfrm>
                <a:off x="6229818" y="4327840"/>
                <a:ext cx="1577347" cy="543914"/>
                <a:chOff x="6229818" y="4327840"/>
                <a:chExt cx="1577347" cy="543914"/>
              </a:xfrm>
            </p:grpSpPr>
            <p:sp>
              <p:nvSpPr>
                <p:cNvPr id="52" name="Freeform 48">
                  <a:extLst>
                    <a:ext uri="{FF2B5EF4-FFF2-40B4-BE49-F238E27FC236}">
                      <a16:creationId xmlns:a16="http://schemas.microsoft.com/office/drawing/2014/main" id="{3F602EA7-FD00-D095-06C8-57E384B45487}"/>
                    </a:ext>
                  </a:extLst>
                </p:cNvPr>
                <p:cNvSpPr/>
                <p:nvPr/>
              </p:nvSpPr>
              <p:spPr>
                <a:xfrm>
                  <a:off x="6229818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A24CDED1-2D58-E064-5E08-E633A5ED60DD}"/>
                    </a:ext>
                  </a:extLst>
                </p:cNvPr>
                <p:cNvGrpSpPr/>
                <p:nvPr/>
              </p:nvGrpSpPr>
              <p:grpSpPr>
                <a:xfrm>
                  <a:off x="6426649" y="4470965"/>
                  <a:ext cx="1183686" cy="257665"/>
                  <a:chOff x="6426649" y="4465503"/>
                  <a:chExt cx="1183686" cy="257665"/>
                </a:xfrm>
              </p:grpSpPr>
              <p:sp>
                <p:nvSpPr>
                  <p:cNvPr id="62" name="TextBox 62"/>
                  <p:cNvSpPr txBox="1"/>
                  <p:nvPr/>
                </p:nvSpPr>
                <p:spPr>
                  <a:xfrm>
                    <a:off x="6426649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63" name="TextBox 63"/>
                  <p:cNvSpPr txBox="1"/>
                  <p:nvPr/>
                </p:nvSpPr>
                <p:spPr>
                  <a:xfrm>
                    <a:off x="6426649" y="4613714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F7E02C26-3B0D-2086-E016-1D9DD054D887}"/>
                  </a:ext>
                </a:extLst>
              </p:cNvPr>
              <p:cNvGrpSpPr/>
              <p:nvPr/>
            </p:nvGrpSpPr>
            <p:grpSpPr>
              <a:xfrm>
                <a:off x="8358653" y="4327840"/>
                <a:ext cx="1577347" cy="543914"/>
                <a:chOff x="8358653" y="4327840"/>
                <a:chExt cx="1577347" cy="543914"/>
              </a:xfrm>
            </p:grpSpPr>
            <p:sp>
              <p:nvSpPr>
                <p:cNvPr id="58" name="Freeform 48">
                  <a:extLst>
                    <a:ext uri="{FF2B5EF4-FFF2-40B4-BE49-F238E27FC236}">
                      <a16:creationId xmlns:a16="http://schemas.microsoft.com/office/drawing/2014/main" id="{0C788836-D28C-085B-B33C-C1B59D1FD37D}"/>
                    </a:ext>
                  </a:extLst>
                </p:cNvPr>
                <p:cNvSpPr/>
                <p:nvPr/>
              </p:nvSpPr>
              <p:spPr>
                <a:xfrm>
                  <a:off x="8358653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3" name="Group 122">
                  <a:extLst>
                    <a:ext uri="{FF2B5EF4-FFF2-40B4-BE49-F238E27FC236}">
                      <a16:creationId xmlns:a16="http://schemas.microsoft.com/office/drawing/2014/main" id="{D9170478-669A-F66C-D844-911E83762609}"/>
                    </a:ext>
                  </a:extLst>
                </p:cNvPr>
                <p:cNvGrpSpPr/>
                <p:nvPr/>
              </p:nvGrpSpPr>
              <p:grpSpPr>
                <a:xfrm>
                  <a:off x="8446742" y="4470965"/>
                  <a:ext cx="1401170" cy="257665"/>
                  <a:chOff x="8446742" y="4465503"/>
                  <a:chExt cx="1401170" cy="257665"/>
                </a:xfrm>
              </p:grpSpPr>
              <p:sp>
                <p:nvSpPr>
                  <p:cNvPr id="67" name="TextBox 67"/>
                  <p:cNvSpPr txBox="1"/>
                  <p:nvPr/>
                </p:nvSpPr>
                <p:spPr>
                  <a:xfrm>
                    <a:off x="8555484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68" name="TextBox 68"/>
                  <p:cNvSpPr txBox="1"/>
                  <p:nvPr/>
                </p:nvSpPr>
                <p:spPr>
                  <a:xfrm>
                    <a:off x="8446742" y="4613714"/>
                    <a:ext cx="1401170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3E3DC60-A8F0-E620-9F03-8CFCC1D5821F}"/>
                </a:ext>
              </a:extLst>
            </p:cNvPr>
            <p:cNvGrpSpPr/>
            <p:nvPr/>
          </p:nvGrpSpPr>
          <p:grpSpPr>
            <a:xfrm>
              <a:off x="6229818" y="3508043"/>
              <a:ext cx="3706182" cy="543914"/>
              <a:chOff x="6229818" y="3508043"/>
              <a:chExt cx="3706182" cy="543914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6A748301-ABCD-E046-81C8-79DA22B8DDCA}"/>
                  </a:ext>
                </a:extLst>
              </p:cNvPr>
              <p:cNvGrpSpPr/>
              <p:nvPr/>
            </p:nvGrpSpPr>
            <p:grpSpPr>
              <a:xfrm>
                <a:off x="6229818" y="3508043"/>
                <a:ext cx="1577347" cy="543914"/>
                <a:chOff x="6229818" y="3508043"/>
                <a:chExt cx="1577347" cy="543914"/>
              </a:xfrm>
            </p:grpSpPr>
            <p:sp>
              <p:nvSpPr>
                <p:cNvPr id="41" name="Freeform 48">
                  <a:extLst>
                    <a:ext uri="{FF2B5EF4-FFF2-40B4-BE49-F238E27FC236}">
                      <a16:creationId xmlns:a16="http://schemas.microsoft.com/office/drawing/2014/main" id="{9EDD957D-E805-3C13-102F-59BDF43A29A8}"/>
                    </a:ext>
                  </a:extLst>
                </p:cNvPr>
                <p:cNvSpPr/>
                <p:nvPr/>
              </p:nvSpPr>
              <p:spPr>
                <a:xfrm>
                  <a:off x="6229818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5A16FB33-7353-896F-A34B-6A2CD1BFD837}"/>
                    </a:ext>
                  </a:extLst>
                </p:cNvPr>
                <p:cNvGrpSpPr/>
                <p:nvPr/>
              </p:nvGrpSpPr>
              <p:grpSpPr>
                <a:xfrm>
                  <a:off x="6426649" y="3651167"/>
                  <a:ext cx="1183686" cy="257665"/>
                  <a:chOff x="6426649" y="3645706"/>
                  <a:chExt cx="1183686" cy="257665"/>
                </a:xfrm>
              </p:grpSpPr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6426649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74" name="TextBox 74"/>
                  <p:cNvSpPr txBox="1"/>
                  <p:nvPr/>
                </p:nvSpPr>
                <p:spPr>
                  <a:xfrm>
                    <a:off x="6426649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F9D8D71-EE47-7775-C73C-37E2AE845B61}"/>
                  </a:ext>
                </a:extLst>
              </p:cNvPr>
              <p:cNvGrpSpPr/>
              <p:nvPr/>
            </p:nvGrpSpPr>
            <p:grpSpPr>
              <a:xfrm>
                <a:off x="8358653" y="3508043"/>
                <a:ext cx="1577347" cy="543914"/>
                <a:chOff x="8358653" y="3508043"/>
                <a:chExt cx="1577347" cy="543914"/>
              </a:xfrm>
            </p:grpSpPr>
            <p:sp>
              <p:nvSpPr>
                <p:cNvPr id="47" name="Freeform 48">
                  <a:extLst>
                    <a:ext uri="{FF2B5EF4-FFF2-40B4-BE49-F238E27FC236}">
                      <a16:creationId xmlns:a16="http://schemas.microsoft.com/office/drawing/2014/main" id="{171203B5-D209-5471-14E6-D2061599698C}"/>
                    </a:ext>
                  </a:extLst>
                </p:cNvPr>
                <p:cNvSpPr/>
                <p:nvPr/>
              </p:nvSpPr>
              <p:spPr>
                <a:xfrm>
                  <a:off x="8358653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6EDEDE59-5A0D-7314-3E87-9707AACBAAF3}"/>
                    </a:ext>
                  </a:extLst>
                </p:cNvPr>
                <p:cNvGrpSpPr/>
                <p:nvPr/>
              </p:nvGrpSpPr>
              <p:grpSpPr>
                <a:xfrm>
                  <a:off x="8555484" y="3651167"/>
                  <a:ext cx="1183686" cy="257665"/>
                  <a:chOff x="8555484" y="3645706"/>
                  <a:chExt cx="1183686" cy="257665"/>
                </a:xfrm>
              </p:grpSpPr>
              <p:sp>
                <p:nvSpPr>
                  <p:cNvPr id="78" name="TextBox 78"/>
                  <p:cNvSpPr txBox="1"/>
                  <p:nvPr/>
                </p:nvSpPr>
                <p:spPr>
                  <a:xfrm>
                    <a:off x="8555484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79" name="TextBox 79"/>
                  <p:cNvSpPr txBox="1"/>
                  <p:nvPr/>
                </p:nvSpPr>
                <p:spPr>
                  <a:xfrm>
                    <a:off x="8555484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2F8CBBF-91D3-4905-F785-F3950BF24F68}"/>
                </a:ext>
              </a:extLst>
            </p:cNvPr>
            <p:cNvGrpSpPr/>
            <p:nvPr/>
          </p:nvGrpSpPr>
          <p:grpSpPr>
            <a:xfrm>
              <a:off x="6229818" y="2510438"/>
              <a:ext cx="3706182" cy="543914"/>
              <a:chOff x="6229818" y="2510438"/>
              <a:chExt cx="3706182" cy="543914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4068EEE-9256-B01C-61E5-43C9BAB7F9F6}"/>
                  </a:ext>
                </a:extLst>
              </p:cNvPr>
              <p:cNvGrpSpPr/>
              <p:nvPr/>
            </p:nvGrpSpPr>
            <p:grpSpPr>
              <a:xfrm>
                <a:off x="6229818" y="2510438"/>
                <a:ext cx="1577347" cy="543914"/>
                <a:chOff x="6229818" y="2510438"/>
                <a:chExt cx="1577347" cy="543914"/>
              </a:xfrm>
            </p:grpSpPr>
            <p:sp>
              <p:nvSpPr>
                <p:cNvPr id="7" name="Freeform 48">
                  <a:extLst>
                    <a:ext uri="{FF2B5EF4-FFF2-40B4-BE49-F238E27FC236}">
                      <a16:creationId xmlns:a16="http://schemas.microsoft.com/office/drawing/2014/main" id="{376F59D7-E4D5-E8BB-2176-69F1FC04E76D}"/>
                    </a:ext>
                  </a:extLst>
                </p:cNvPr>
                <p:cNvSpPr/>
                <p:nvPr/>
              </p:nvSpPr>
              <p:spPr>
                <a:xfrm>
                  <a:off x="6229818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F33C6D85-7F92-43DA-F4CE-9987ED5185D3}"/>
                    </a:ext>
                  </a:extLst>
                </p:cNvPr>
                <p:cNvGrpSpPr/>
                <p:nvPr/>
              </p:nvGrpSpPr>
              <p:grpSpPr>
                <a:xfrm>
                  <a:off x="6426649" y="2653563"/>
                  <a:ext cx="1183686" cy="257665"/>
                  <a:chOff x="6426649" y="2648101"/>
                  <a:chExt cx="1183686" cy="257665"/>
                </a:xfrm>
              </p:grpSpPr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6426649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6426649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AE56DCC8-30EE-0165-270A-7BE2ACED9ACE}"/>
                  </a:ext>
                </a:extLst>
              </p:cNvPr>
              <p:cNvGrpSpPr/>
              <p:nvPr/>
            </p:nvGrpSpPr>
            <p:grpSpPr>
              <a:xfrm>
                <a:off x="8358653" y="2510438"/>
                <a:ext cx="1577347" cy="543914"/>
                <a:chOff x="8358653" y="2510438"/>
                <a:chExt cx="1577347" cy="543914"/>
              </a:xfrm>
            </p:grpSpPr>
            <p:sp>
              <p:nvSpPr>
                <p:cNvPr id="36" name="Freeform 48">
                  <a:extLst>
                    <a:ext uri="{FF2B5EF4-FFF2-40B4-BE49-F238E27FC236}">
                      <a16:creationId xmlns:a16="http://schemas.microsoft.com/office/drawing/2014/main" id="{101B9A98-2AC0-8909-841C-B015D2719184}"/>
                    </a:ext>
                  </a:extLst>
                </p:cNvPr>
                <p:cNvSpPr/>
                <p:nvPr/>
              </p:nvSpPr>
              <p:spPr>
                <a:xfrm>
                  <a:off x="8358653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93" name="Group 92">
                  <a:extLst>
                    <a:ext uri="{FF2B5EF4-FFF2-40B4-BE49-F238E27FC236}">
                      <a16:creationId xmlns:a16="http://schemas.microsoft.com/office/drawing/2014/main" id="{E856E316-6B1C-D96E-8347-B4DC3F29FBF1}"/>
                    </a:ext>
                  </a:extLst>
                </p:cNvPr>
                <p:cNvGrpSpPr/>
                <p:nvPr/>
              </p:nvGrpSpPr>
              <p:grpSpPr>
                <a:xfrm>
                  <a:off x="8555484" y="2653563"/>
                  <a:ext cx="1183686" cy="257665"/>
                  <a:chOff x="8555484" y="2648101"/>
                  <a:chExt cx="1183686" cy="257665"/>
                </a:xfrm>
              </p:grpSpPr>
              <p:sp>
                <p:nvSpPr>
                  <p:cNvPr id="44" name="TextBox 44"/>
                  <p:cNvSpPr txBox="1"/>
                  <p:nvPr/>
                </p:nvSpPr>
                <p:spPr>
                  <a:xfrm>
                    <a:off x="8555484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45" name="TextBox 45"/>
                  <p:cNvSpPr txBox="1"/>
                  <p:nvPr/>
                </p:nvSpPr>
                <p:spPr>
                  <a:xfrm>
                    <a:off x="8555484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DA81F4D-205A-90E5-0079-F5820888F66A}"/>
                </a:ext>
              </a:extLst>
            </p:cNvPr>
            <p:cNvGrpSpPr/>
            <p:nvPr/>
          </p:nvGrpSpPr>
          <p:grpSpPr>
            <a:xfrm>
              <a:off x="6229818" y="1690641"/>
              <a:ext cx="3706182" cy="543914"/>
              <a:chOff x="6229818" y="1690641"/>
              <a:chExt cx="3706182" cy="5439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95CA6B10-20D0-392F-BA9F-5312A126B3FF}"/>
                  </a:ext>
                </a:extLst>
              </p:cNvPr>
              <p:cNvGrpSpPr/>
              <p:nvPr/>
            </p:nvGrpSpPr>
            <p:grpSpPr>
              <a:xfrm>
                <a:off x="6229818" y="1690641"/>
                <a:ext cx="1577347" cy="543914"/>
                <a:chOff x="6229818" y="1690641"/>
                <a:chExt cx="1577347" cy="543914"/>
              </a:xfrm>
            </p:grpSpPr>
            <p:sp>
              <p:nvSpPr>
                <p:cNvPr id="48" name="Freeform 48"/>
                <p:cNvSpPr/>
                <p:nvPr/>
              </p:nvSpPr>
              <p:spPr>
                <a:xfrm>
                  <a:off x="6229818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D4F516E5-D661-6AED-67DF-45F56959064E}"/>
                    </a:ext>
                  </a:extLst>
                </p:cNvPr>
                <p:cNvGrpSpPr/>
                <p:nvPr/>
              </p:nvGrpSpPr>
              <p:grpSpPr>
                <a:xfrm>
                  <a:off x="6426649" y="1833766"/>
                  <a:ext cx="1183686" cy="257665"/>
                  <a:chOff x="6426649" y="1833766"/>
                  <a:chExt cx="1183686" cy="257665"/>
                </a:xfrm>
              </p:grpSpPr>
              <p:sp>
                <p:nvSpPr>
                  <p:cNvPr id="50" name="TextBox 50"/>
                  <p:cNvSpPr txBox="1"/>
                  <p:nvPr/>
                </p:nvSpPr>
                <p:spPr>
                  <a:xfrm>
                    <a:off x="6426649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u="none" strike="noStrike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u="none" strike="noStrike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51" name="TextBox 51"/>
                  <p:cNvSpPr txBox="1"/>
                  <p:nvPr/>
                </p:nvSpPr>
                <p:spPr>
                  <a:xfrm>
                    <a:off x="6426649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AA20FD61-B69D-3F9D-6227-2B1430D5E034}"/>
                  </a:ext>
                </a:extLst>
              </p:cNvPr>
              <p:cNvGrpSpPr/>
              <p:nvPr/>
            </p:nvGrpSpPr>
            <p:grpSpPr>
              <a:xfrm>
                <a:off x="8358653" y="1690641"/>
                <a:ext cx="1577347" cy="543914"/>
                <a:chOff x="8358653" y="1690641"/>
                <a:chExt cx="1577347" cy="543914"/>
              </a:xfrm>
            </p:grpSpPr>
            <p:sp>
              <p:nvSpPr>
                <p:cNvPr id="6" name="Freeform 48">
                  <a:extLst>
                    <a:ext uri="{FF2B5EF4-FFF2-40B4-BE49-F238E27FC236}">
                      <a16:creationId xmlns:a16="http://schemas.microsoft.com/office/drawing/2014/main" id="{58C10785-44FF-3833-C6E0-FD2B6C62F141}"/>
                    </a:ext>
                  </a:extLst>
                </p:cNvPr>
                <p:cNvSpPr/>
                <p:nvPr/>
              </p:nvSpPr>
              <p:spPr>
                <a:xfrm>
                  <a:off x="8358653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878B7CE2-57C0-EB0C-B1CE-9A0F038A5AE2}"/>
                    </a:ext>
                  </a:extLst>
                </p:cNvPr>
                <p:cNvGrpSpPr/>
                <p:nvPr/>
              </p:nvGrpSpPr>
              <p:grpSpPr>
                <a:xfrm>
                  <a:off x="8555484" y="1833766"/>
                  <a:ext cx="1183686" cy="257665"/>
                  <a:chOff x="8555484" y="1833766"/>
                  <a:chExt cx="1183686" cy="257665"/>
                </a:xfrm>
              </p:grpSpPr>
              <p:sp>
                <p:nvSpPr>
                  <p:cNvPr id="55" name="TextBox 55"/>
                  <p:cNvSpPr txBox="1"/>
                  <p:nvPr/>
                </p:nvSpPr>
                <p:spPr>
                  <a:xfrm>
                    <a:off x="8555484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om </a:t>
                    </a:r>
                    <a:r>
                      <a:rPr lang="en-US" sz="850" b="1" dirty="0" err="1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rénom</a:t>
                    </a:r>
                    <a:endParaRPr lang="en-US" sz="850" b="1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56" name="TextBox 56"/>
                  <p:cNvSpPr txBox="1"/>
                  <p:nvPr/>
                </p:nvSpPr>
                <p:spPr>
                  <a:xfrm>
                    <a:off x="8555484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te</a:t>
                    </a:r>
                  </a:p>
                </p:txBody>
              </p:sp>
            </p:grp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1E52FC3-3CB9-22B7-CA65-796CD7249B0D}"/>
                </a:ext>
              </a:extLst>
            </p:cNvPr>
            <p:cNvGrpSpPr/>
            <p:nvPr/>
          </p:nvGrpSpPr>
          <p:grpSpPr>
            <a:xfrm>
              <a:off x="4024458" y="5217127"/>
              <a:ext cx="1577347" cy="1577347"/>
              <a:chOff x="4024458" y="5226653"/>
              <a:chExt cx="1577347" cy="1577347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4024458" y="5226653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197757" y="5408080"/>
                <a:ext cx="1183686" cy="15388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om </a:t>
                </a:r>
                <a:r>
                  <a:rPr lang="en-US" sz="1000" b="1" dirty="0" err="1">
                    <a:solidFill>
                      <a:srgbClr val="FFFFFF"/>
                    </a:solidFill>
                    <a:latin typeface="Poppins" panose="00000500000000000000" pitchFamily="2" charset="0"/>
                  </a:rPr>
                  <a:t>Prénom</a:t>
                </a:r>
                <a:endParaRPr lang="en-US" sz="100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197757" y="5581416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te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1762AD-D675-C2A9-E342-212AFB769EF6}"/>
                </a:ext>
              </a:extLst>
            </p:cNvPr>
            <p:cNvGrpSpPr/>
            <p:nvPr/>
          </p:nvGrpSpPr>
          <p:grpSpPr>
            <a:xfrm>
              <a:off x="4024458" y="3401553"/>
              <a:ext cx="1577347" cy="1577347"/>
              <a:chOff x="4024458" y="3404489"/>
              <a:chExt cx="1577347" cy="1577347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4024458" y="3404489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4197757" y="3589568"/>
                <a:ext cx="1260211" cy="15388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om </a:t>
                </a:r>
                <a:r>
                  <a:rPr lang="en-US" sz="1000" b="1" dirty="0" err="1">
                    <a:solidFill>
                      <a:srgbClr val="FFFFFF"/>
                    </a:solidFill>
                    <a:latin typeface="Poppins" panose="00000500000000000000" pitchFamily="2" charset="0"/>
                  </a:rPr>
                  <a:t>Prénom</a:t>
                </a:r>
                <a:endParaRPr lang="en-US" sz="100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4197757" y="3779547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te</a:t>
                </a:r>
                <a:endParaRPr lang="en-US" sz="650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CEE6F46-E877-222D-8F7C-1BE04DD66F01}"/>
                </a:ext>
              </a:extLst>
            </p:cNvPr>
            <p:cNvGrpSpPr/>
            <p:nvPr/>
          </p:nvGrpSpPr>
          <p:grpSpPr>
            <a:xfrm>
              <a:off x="4024458" y="1582324"/>
              <a:ext cx="1577347" cy="1577347"/>
              <a:chOff x="4024458" y="1582324"/>
              <a:chExt cx="1577347" cy="1577347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4024458" y="1582324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4197757" y="1768286"/>
                <a:ext cx="1230749" cy="15388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om </a:t>
                </a:r>
                <a:r>
                  <a:rPr lang="en-US" sz="1000" b="1" dirty="0" err="1">
                    <a:solidFill>
                      <a:srgbClr val="FFFFFF"/>
                    </a:solidFill>
                    <a:latin typeface="Poppins" panose="00000500000000000000" pitchFamily="2" charset="0"/>
                  </a:rPr>
                  <a:t>Prénom</a:t>
                </a:r>
                <a:endParaRPr lang="en-US" sz="100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197757" y="1956788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te</a:t>
                </a:r>
                <a:endParaRPr lang="en-US" sz="650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D226F89-6231-9A97-84A2-51A10BE38FB7}"/>
                </a:ext>
              </a:extLst>
            </p:cNvPr>
            <p:cNvGrpSpPr/>
            <p:nvPr/>
          </p:nvGrpSpPr>
          <p:grpSpPr>
            <a:xfrm>
              <a:off x="756000" y="3056226"/>
              <a:ext cx="2268000" cy="2268000"/>
              <a:chOff x="756000" y="3059162"/>
              <a:chExt cx="2268000" cy="2268000"/>
            </a:xfrm>
          </p:grpSpPr>
          <p:sp>
            <p:nvSpPr>
              <p:cNvPr id="105" name="Freeform 105"/>
              <p:cNvSpPr/>
              <p:nvPr/>
            </p:nvSpPr>
            <p:spPr>
              <a:xfrm>
                <a:off x="756000" y="3059162"/>
                <a:ext cx="2268000" cy="22680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68271" y="0"/>
                    </a:moveTo>
                    <a:lnTo>
                      <a:pt x="744529" y="0"/>
                    </a:lnTo>
                    <a:cubicBezTo>
                      <a:pt x="782234" y="0"/>
                      <a:pt x="812800" y="30566"/>
                      <a:pt x="812800" y="68271"/>
                    </a:cubicBezTo>
                    <a:lnTo>
                      <a:pt x="812800" y="744529"/>
                    </a:lnTo>
                    <a:cubicBezTo>
                      <a:pt x="812800" y="782234"/>
                      <a:pt x="782234" y="812800"/>
                      <a:pt x="744529" y="812800"/>
                    </a:cubicBezTo>
                    <a:lnTo>
                      <a:pt x="68271" y="812800"/>
                    </a:lnTo>
                    <a:cubicBezTo>
                      <a:pt x="30566" y="812800"/>
                      <a:pt x="0" y="782234"/>
                      <a:pt x="0" y="744529"/>
                    </a:cubicBezTo>
                    <a:lnTo>
                      <a:pt x="0" y="68271"/>
                    </a:lnTo>
                    <a:cubicBezTo>
                      <a:pt x="0" y="30566"/>
                      <a:pt x="30566" y="0"/>
                      <a:pt x="68271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8" name="TextBox 108"/>
              <p:cNvSpPr txBox="1"/>
              <p:nvPr/>
            </p:nvSpPr>
            <p:spPr>
              <a:xfrm>
                <a:off x="920160" y="3235578"/>
                <a:ext cx="1498886" cy="2209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2"/>
                  </a:lnSpc>
                </a:pPr>
                <a:r>
                  <a:rPr lang="en-US" sz="16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om </a:t>
                </a:r>
                <a:r>
                  <a:rPr lang="en-US" sz="1600" b="1" dirty="0" err="1">
                    <a:solidFill>
                      <a:srgbClr val="FFFFFF"/>
                    </a:solidFill>
                    <a:latin typeface="Poppins" panose="00000500000000000000" pitchFamily="2" charset="0"/>
                  </a:rPr>
                  <a:t>Prénom</a:t>
                </a:r>
                <a:endParaRPr lang="en-US" sz="160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9" name="TextBox 109"/>
              <p:cNvSpPr txBox="1"/>
              <p:nvPr/>
            </p:nvSpPr>
            <p:spPr>
              <a:xfrm>
                <a:off x="920160" y="3515938"/>
                <a:ext cx="1498886" cy="1585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2"/>
                  </a:lnSpc>
                </a:pPr>
                <a:r>
                  <a:rPr lang="en-US" sz="12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te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9ED4CFB-9E96-3AAF-F6E3-763993DAFCDA}"/>
                </a:ext>
              </a:extLst>
            </p:cNvPr>
            <p:cNvGrpSpPr/>
            <p:nvPr/>
          </p:nvGrpSpPr>
          <p:grpSpPr>
            <a:xfrm>
              <a:off x="776250" y="689325"/>
              <a:ext cx="6609167" cy="600457"/>
              <a:chOff x="776250" y="689325"/>
              <a:chExt cx="6609167" cy="600457"/>
            </a:xfrm>
          </p:grpSpPr>
          <p:sp>
            <p:nvSpPr>
              <p:cNvPr id="116" name="TextBox 116"/>
              <p:cNvSpPr txBox="1"/>
              <p:nvPr/>
            </p:nvSpPr>
            <p:spPr>
              <a:xfrm>
                <a:off x="776250" y="689325"/>
                <a:ext cx="6609167" cy="3894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186"/>
                  </a:lnSpc>
                </a:pPr>
                <a:r>
                  <a:rPr lang="en-US" sz="2300" b="1" dirty="0">
                    <a:solidFill>
                      <a:schemeClr val="accent2"/>
                    </a:solidFill>
                    <a:latin typeface="Poppins" panose="00000500000000000000" pitchFamily="2" charset="0"/>
                  </a:rPr>
                  <a:t>ORGANIGRAMME</a:t>
                </a:r>
              </a:p>
            </p:txBody>
          </p:sp>
          <p:sp>
            <p:nvSpPr>
              <p:cNvPr id="117" name="TextBox 117"/>
              <p:cNvSpPr txBox="1"/>
              <p:nvPr/>
            </p:nvSpPr>
            <p:spPr>
              <a:xfrm>
                <a:off x="776250" y="1071645"/>
                <a:ext cx="4181377" cy="2181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lnSpc>
                    <a:spcPts val="1754"/>
                  </a:lnSpc>
                </a:pPr>
                <a:r>
                  <a:rPr lang="en-US" sz="1253" b="1" i="1" dirty="0" err="1">
                    <a:solidFill>
                      <a:srgbClr val="000000"/>
                    </a:solidFill>
                    <a:latin typeface="Poppins" panose="00000500000000000000" pitchFamily="2" charset="0"/>
                    <a:cs typeface="Poppins" panose="00000500000000000000" pitchFamily="2" charset="0"/>
                  </a:rPr>
                  <a:t>Entreprise</a:t>
                </a:r>
                <a:endParaRPr lang="en-US" sz="1253" b="1" i="1" dirty="0">
                  <a:solidFill>
                    <a:srgbClr val="000000"/>
                  </a:solidFill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446BF7A6-AA8D-3380-CF7C-2CB3C2FBD995}"/>
              </a:ext>
            </a:extLst>
          </p:cNvPr>
          <p:cNvSpPr txBox="1"/>
          <p:nvPr/>
        </p:nvSpPr>
        <p:spPr>
          <a:xfrm>
            <a:off x="8965328" y="-219"/>
            <a:ext cx="345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>
                    <a:lumMod val="75000"/>
                  </a:schemeClr>
                </a:solidFill>
              </a:rPr>
              <a:t>modelesorganigramme.fr</a:t>
            </a: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53</Words>
  <Application>Microsoft Office PowerPoint</Application>
  <PresentationFormat>Personalizado</PresentationFormat>
  <Paragraphs>35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Arial</vt:lpstr>
      <vt:lpstr>Poppins</vt:lpstr>
      <vt:lpstr>Calibri</vt:lpstr>
      <vt:lpstr>Office Theme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Organizational Chart Templates (Landscape)</dc:title>
  <dc:creator>modelesorganigramme.fr</dc:creator>
  <cp:lastModifiedBy>H1077</cp:lastModifiedBy>
  <cp:revision>15</cp:revision>
  <dcterms:created xsi:type="dcterms:W3CDTF">2006-08-16T00:00:00Z</dcterms:created>
  <dcterms:modified xsi:type="dcterms:W3CDTF">2026-02-20T10:17:24Z</dcterms:modified>
  <dc:identifier>DAF5ioSBtJE</dc:identifier>
</cp:coreProperties>
</file>